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95" r:id="rId2"/>
    <p:sldId id="378" r:id="rId3"/>
    <p:sldId id="311" r:id="rId4"/>
    <p:sldId id="312" r:id="rId5"/>
    <p:sldId id="313" r:id="rId6"/>
    <p:sldId id="314" r:id="rId7"/>
    <p:sldId id="315" r:id="rId8"/>
    <p:sldId id="317" r:id="rId9"/>
    <p:sldId id="318" r:id="rId10"/>
    <p:sldId id="319" r:id="rId11"/>
    <p:sldId id="320" r:id="rId12"/>
    <p:sldId id="321" r:id="rId13"/>
    <p:sldId id="322" r:id="rId14"/>
    <p:sldId id="323" r:id="rId15"/>
    <p:sldId id="324" r:id="rId16"/>
    <p:sldId id="325" r:id="rId17"/>
    <p:sldId id="326" r:id="rId18"/>
    <p:sldId id="327" r:id="rId19"/>
    <p:sldId id="332" r:id="rId20"/>
    <p:sldId id="335" r:id="rId21"/>
    <p:sldId id="337" r:id="rId22"/>
    <p:sldId id="377" r:id="rId23"/>
    <p:sldId id="368" r:id="rId24"/>
  </p:sldIdLst>
  <p:sldSz cx="9904413" cy="6859588"/>
  <p:notesSz cx="6797675" cy="9874250"/>
  <p:custDataLst>
    <p:tags r:id="rId27"/>
  </p:custDataLst>
  <p:defaultTextStyle>
    <a:defPPr>
      <a:defRPr lang="de-DE"/>
    </a:defPPr>
    <a:lvl1pPr marL="0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63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925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888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851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814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3975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orient="horz" pos="867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>
          <p15:clr>
            <a:srgbClr val="A4A3A4"/>
          </p15:clr>
        </p15:guide>
        <p15:guide id="8" pos="3119">
          <p15:clr>
            <a:srgbClr val="A4A3A4"/>
          </p15:clr>
        </p15:guide>
        <p15:guide id="9" pos="3210">
          <p15:clr>
            <a:srgbClr val="A4A3A4"/>
          </p15:clr>
        </p15:guide>
        <p15:guide id="10" pos="6238">
          <p15:clr>
            <a:srgbClr val="A4A3A4"/>
          </p15:clr>
        </p15:guide>
        <p15:guide id="11" pos="6090">
          <p15:clr>
            <a:srgbClr val="A4A3A4"/>
          </p15:clr>
        </p15:guide>
        <p15:guide id="12" pos="3028">
          <p15:clr>
            <a:srgbClr val="A4A3A4"/>
          </p15:clr>
        </p15:guide>
        <p15:guide id="13" pos="171">
          <p15:clr>
            <a:srgbClr val="A4A3A4"/>
          </p15:clr>
        </p15:guide>
        <p15:guide id="14" pos="5954">
          <p15:clr>
            <a:srgbClr val="A4A3A4"/>
          </p15:clr>
        </p15:guide>
        <p15:guide id="1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717"/>
    <a:srgbClr val="741111"/>
    <a:srgbClr val="4E0C0C"/>
    <a:srgbClr val="B42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26" autoAdjust="0"/>
    <p:restoredTop sz="98993" autoAdjust="0"/>
  </p:normalViewPr>
  <p:slideViewPr>
    <p:cSldViewPr snapToObjects="1" showGuides="1">
      <p:cViewPr varScale="1">
        <p:scale>
          <a:sx n="118" d="100"/>
          <a:sy n="118" d="100"/>
        </p:scale>
        <p:origin x="1232" y="192"/>
      </p:cViewPr>
      <p:guideLst>
        <p:guide orient="horz" pos="731"/>
        <p:guide orient="horz" pos="187"/>
        <p:guide orient="horz" pos="3975"/>
        <p:guide orient="horz" pos="4066"/>
        <p:guide orient="horz" pos="867"/>
        <p:guide orient="horz" pos="572"/>
        <p:guide orient="horz"/>
        <p:guide pos="3119"/>
        <p:guide pos="3210"/>
        <p:guide pos="6238"/>
        <p:guide pos="6090"/>
        <p:guide pos="3028"/>
        <p:guide pos="171"/>
        <p:guide pos="5954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43" d="100"/>
          <a:sy n="43" d="100"/>
        </p:scale>
        <p:origin x="-2010" y="-120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31/24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10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8963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7925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6888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5851" algn="l" defTabSz="957925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4814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776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739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702" algn="l" defTabSz="9579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 Cov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对象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50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5158" y="6103033"/>
            <a:ext cx="3586911" cy="20774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>
                <a:latin typeface="Palatino Linotype" panose="02040502050505030304" pitchFamily="18" charset="0"/>
              </a:defRPr>
            </a:lvl1pPr>
            <a:lvl2pPr marL="191585" indent="0">
              <a:buNone/>
              <a:defRPr sz="1000"/>
            </a:lvl2pPr>
            <a:lvl3pPr marL="338624" indent="0">
              <a:buNone/>
              <a:defRPr sz="1000"/>
            </a:lvl3pPr>
            <a:lvl4pPr marL="535156" indent="0">
              <a:buNone/>
              <a:defRPr sz="1000"/>
            </a:lvl4pPr>
            <a:lvl5pPr marL="686388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65158" y="5074613"/>
            <a:ext cx="4297888" cy="20774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8568" indent="-188568">
              <a:buNone/>
              <a:defRPr lang="en-US" sz="1500" baseline="0" smtClean="0">
                <a:latin typeface="Palatino Linotype" panose="02040502050505030304" pitchFamily="18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5158" y="4859205"/>
            <a:ext cx="4296719" cy="20774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500" baseline="0">
                <a:latin typeface="Palatino Linotype" panose="02040502050505030304" pitchFamily="18" charset="0"/>
              </a:defRPr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65157" y="3595829"/>
            <a:ext cx="9361046" cy="498713"/>
          </a:xfrm>
          <a:prstGeom prst="rect">
            <a:avLst/>
          </a:prstGeom>
          <a:noFill/>
          <a:ln w="6350" cap="flat">
            <a:noFill/>
          </a:ln>
        </p:spPr>
        <p:txBody>
          <a:bodyPr lIns="95793" tIns="47896" rIns="95793" bIns="47896"/>
          <a:lstStyle>
            <a:lvl1pPr algn="l">
              <a:lnSpc>
                <a:spcPct val="90000"/>
              </a:lnSpc>
              <a:defRPr sz="38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3458637"/>
            <a:ext cx="9904413" cy="0"/>
          </a:xfrm>
          <a:prstGeom prst="line">
            <a:avLst/>
          </a:prstGeom>
          <a:ln w="6350" cap="flat">
            <a:solidFill>
              <a:srgbClr val="B421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157" y="3065354"/>
            <a:ext cx="9361046" cy="26314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43"/>
              </a:spcBef>
              <a:buNone/>
              <a:defRPr sz="19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8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  <p:sp>
        <p:nvSpPr>
          <p:cNvPr id="10" name="矩形 9"/>
          <p:cNvSpPr/>
          <p:nvPr userDrawn="1"/>
        </p:nvSpPr>
        <p:spPr>
          <a:xfrm>
            <a:off x="2647950" y="-3775"/>
            <a:ext cx="7254875" cy="922898"/>
          </a:xfrm>
          <a:prstGeom prst="rect">
            <a:avLst/>
          </a:prstGeom>
          <a:solidFill>
            <a:srgbClr val="B421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364939" y="166237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956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4" name="Picture 2" descr="http://statics.phbs.pku.edu.cn/uploadfile/2017/1122/20171122092949636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1" t="26645" r="15215" b="28137"/>
          <a:stretch/>
        </p:blipFill>
        <p:spPr bwMode="auto">
          <a:xfrm>
            <a:off x="7675042" y="189434"/>
            <a:ext cx="1957908" cy="66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082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7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160486"/>
            <a:ext cx="9358500" cy="1544846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 Onlyte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107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1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4806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Palatino Linotype" panose="02040502050505030304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085277" y="1376363"/>
            <a:ext cx="4531032" cy="4933950"/>
          </a:xfrm>
        </p:spPr>
        <p:txBody>
          <a:bodyPr/>
          <a:lstStyle>
            <a:lvl1pPr marL="188568" indent="-188568">
              <a:lnSpc>
                <a:spcPct val="110000"/>
              </a:lnSpc>
              <a:buClr>
                <a:srgbClr val="B42100"/>
              </a:buClr>
              <a:defRPr baseline="0">
                <a:latin typeface="Palatino Linotype" panose="02040502050505030304" pitchFamily="18" charset="0"/>
                <a:ea typeface="华文楷体" panose="02010600040101010101" pitchFamily="2" charset="-122"/>
              </a:defRPr>
            </a:lvl1pPr>
            <a:lvl2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2pPr>
            <a:lvl3pPr marL="895350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3pPr>
            <a:lvl4pPr marL="1162050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4pPr>
            <a:lvl5pPr>
              <a:defRPr>
                <a:latin typeface="Palatino Linotype" panose="02040502050505030304" pitchFamily="18" charset="0"/>
                <a:ea typeface="华文楷体" panose="02010600040101010101" pitchFamily="2" charset="-122"/>
              </a:defRPr>
            </a:lvl5pPr>
          </a:lstStyle>
          <a:p>
            <a:pPr marL="188568" indent="-188568">
              <a:lnSpc>
                <a:spcPct val="110000"/>
              </a:lnSpc>
              <a:buClr>
                <a:srgbClr val="B42100"/>
              </a:buClr>
            </a:pPr>
            <a:r>
              <a:rPr kumimoji="1" lang="en-US" altLang="zh-CN" sz="1600" dirty="0">
                <a:ea typeface="PMingLiU" pitchFamily="18" charset="-120"/>
              </a:rPr>
              <a:t>Text</a:t>
            </a:r>
            <a:r>
              <a:rPr kumimoji="1" lang="en-US" altLang="zh-CN" sz="1600" baseline="0" dirty="0">
                <a:ea typeface="PMingLiU" pitchFamily="18" charset="-120"/>
              </a:rPr>
              <a:t> on first level here</a:t>
            </a:r>
            <a:endParaRPr kumimoji="1" lang="en-US" altLang="zh-CN" sz="1600" dirty="0">
              <a:ea typeface="PMingLiU" pitchFamily="18" charset="-120"/>
            </a:endParaRPr>
          </a:p>
          <a:p>
            <a:pPr marL="5270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r>
              <a:rPr lang="en-US" altLang="zh-CN" sz="1600" dirty="0">
                <a:latin typeface="Palatino Linotype" panose="02040502050505030304" pitchFamily="18" charset="0"/>
              </a:rPr>
              <a:t>Second level</a:t>
            </a:r>
          </a:p>
          <a:p>
            <a:pPr marL="895350" lvl="2" indent="-171450">
              <a:lnSpc>
                <a:spcPct val="110000"/>
              </a:lnSpc>
              <a:spcBef>
                <a:spcPct val="0"/>
              </a:spcBef>
              <a:buClr>
                <a:srgbClr val="B42100"/>
              </a:buClr>
              <a:buFont typeface="Arial" pitchFamily="34" charset="0"/>
              <a:buChar char="•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Third level</a:t>
            </a:r>
          </a:p>
          <a:p>
            <a:pPr marL="1162050" lvl="3" indent="-171450">
              <a:lnSpc>
                <a:spcPct val="110000"/>
              </a:lnSpc>
              <a:spcBef>
                <a:spcPct val="0"/>
              </a:spcBef>
              <a:buClr>
                <a:schemeClr val="bg1">
                  <a:lumMod val="75000"/>
                </a:schemeClr>
              </a:buClr>
              <a:buFont typeface="Vrinda" panose="020B0502040204020203" pitchFamily="34" charset="0"/>
              <a:buChar char="-"/>
              <a:tabLst>
                <a:tab pos="1162050" algn="l"/>
              </a:tabLst>
            </a:pPr>
            <a:r>
              <a:rPr kumimoji="1" lang="en-US" altLang="zh-CN" sz="1600" dirty="0">
                <a:latin typeface="Palatino Linotype" panose="02040502050505030304" pitchFamily="18" charset="0"/>
                <a:ea typeface="PMingLiU" pitchFamily="18" charset="-120"/>
              </a:rPr>
              <a:t>Content</a:t>
            </a:r>
          </a:p>
          <a:p>
            <a:pPr marL="628650" lvl="1" indent="-180975" fontAlgn="b">
              <a:lnSpc>
                <a:spcPct val="110000"/>
              </a:lnSpc>
              <a:buClr>
                <a:schemeClr val="bg1">
                  <a:lumMod val="75000"/>
                </a:schemeClr>
              </a:buClr>
              <a:defRPr/>
            </a:pPr>
            <a:endParaRPr lang="en-US" altLang="zh-CN" sz="1600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540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5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158" y="2158484"/>
            <a:ext cx="9365380" cy="290849"/>
          </a:xfrm>
          <a:ln>
            <a:noFill/>
          </a:ln>
        </p:spPr>
        <p:txBody>
          <a:bodyPr/>
          <a:lstStyle>
            <a:lvl1pPr marL="172427" indent="-172427">
              <a:buFont typeface="Arial" pitchFamily="34" charset="0"/>
              <a:buChar char="•"/>
              <a:defRPr sz="2100" baseline="0"/>
            </a:lvl1pPr>
            <a:lvl2pPr marL="364012" indent="-191585">
              <a:spcBef>
                <a:spcPts val="629"/>
              </a:spcBef>
              <a:buFont typeface="Arial" pitchFamily="34" charset="0"/>
              <a:buChar char="–"/>
              <a:defRPr sz="2100"/>
            </a:lvl2pPr>
            <a:lvl3pPr marL="507700" indent="-143689">
              <a:spcBef>
                <a:spcPts val="210"/>
              </a:spcBef>
              <a:buFont typeface="Arial" pitchFamily="34" charset="0"/>
              <a:buChar char="-"/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158" y="1628009"/>
            <a:ext cx="9365310" cy="338406"/>
          </a:xfrm>
          <a:prstGeom prst="rect">
            <a:avLst/>
          </a:prstGeom>
          <a:ln>
            <a:noFill/>
          </a:ln>
        </p:spPr>
        <p:txBody>
          <a:bodyPr lIns="95793" tIns="47896" rIns="95793" bIns="47896"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4759154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40" y="1376682"/>
            <a:ext cx="9367890" cy="140807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0551" y="6596784"/>
            <a:ext cx="287228" cy="13853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271464" y="917440"/>
            <a:ext cx="9125694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 rot="16200000">
            <a:off x="144381" y="827726"/>
            <a:ext cx="182604" cy="0"/>
          </a:xfrm>
          <a:prstGeom prst="line">
            <a:avLst/>
          </a:prstGeom>
          <a:noFill/>
          <a:ln w="76200">
            <a:solidFill>
              <a:srgbClr val="B42100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 rot="16200000">
            <a:off x="191478" y="852338"/>
            <a:ext cx="136557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>
              <a:defRPr/>
            </a:pPr>
            <a:endParaRPr lang="zh-CN" altLang="en-US"/>
          </a:p>
        </p:txBody>
      </p:sp>
      <p:grpSp>
        <p:nvGrpSpPr>
          <p:cNvPr id="12" name="Group 30"/>
          <p:cNvGrpSpPr>
            <a:grpSpLocks/>
          </p:cNvGrpSpPr>
          <p:nvPr userDrawn="1"/>
        </p:nvGrpSpPr>
        <p:grpSpPr bwMode="auto">
          <a:xfrm>
            <a:off x="8955240" y="911089"/>
            <a:ext cx="453952" cy="69866"/>
            <a:chOff x="5208" y="545"/>
            <a:chExt cx="264" cy="44"/>
          </a:xfrm>
        </p:grpSpPr>
        <p:sp>
          <p:nvSpPr>
            <p:cNvPr id="16" name="Rectangle 17"/>
            <p:cNvSpPr>
              <a:spLocks noChangeArrowheads="1"/>
            </p:cNvSpPr>
            <p:nvPr userDrawn="1"/>
          </p:nvSpPr>
          <p:spPr bwMode="auto">
            <a:xfrm rot="10800000" flipH="1" flipV="1">
              <a:off x="5208" y="545"/>
              <a:ext cx="264" cy="44"/>
            </a:xfrm>
            <a:prstGeom prst="rect">
              <a:avLst/>
            </a:prstGeom>
            <a:solidFill>
              <a:srgbClr val="B42100"/>
            </a:solidFill>
            <a:ln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altLang="zh-CN" sz="1000" b="0">
                <a:solidFill>
                  <a:schemeClr val="bg1"/>
                </a:solidFill>
              </a:endParaRPr>
            </a:p>
          </p:txBody>
        </p:sp>
        <p:sp>
          <p:nvSpPr>
            <p:cNvPr id="17" name="Rectangle 22"/>
            <p:cNvSpPr>
              <a:spLocks noChangeArrowheads="1"/>
            </p:cNvSpPr>
            <p:nvPr userDrawn="1"/>
          </p:nvSpPr>
          <p:spPr bwMode="auto">
            <a:xfrm rot="10800000">
              <a:off x="5208" y="545"/>
              <a:ext cx="240" cy="27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</p:spPr>
          <p:txBody>
            <a:bodyPr rot="10800000" anchor="ctr"/>
            <a:lstStyle/>
            <a:p>
              <a:pPr algn="r">
                <a:defRPr/>
              </a:pPr>
              <a:endParaRPr lang="en-US" altLang="zh-CN" sz="200" b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04596" y="6505766"/>
            <a:ext cx="495221" cy="1651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5793" tIns="47896" rIns="95793" bIns="4789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20000"/>
              </a:spcBef>
              <a:buClr>
                <a:schemeClr val="accent1"/>
              </a:buClr>
              <a:buSzPct val="85000"/>
              <a:buFontTx/>
              <a:buChar char="-"/>
              <a:defRPr sz="800" b="0" smtClean="0">
                <a:solidFill>
                  <a:srgbClr val="937632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- </a:t>
            </a:r>
            <a:fld id="{D196C2D1-191C-4448-BECC-17644327C254}" type="slidenum">
              <a:rPr lang="en-US" altLang="zh-CN"/>
              <a:pPr>
                <a:defRPr/>
              </a:pPr>
              <a:t>‹#›</a:t>
            </a:fld>
            <a:r>
              <a:rPr lang="en-US" altLang="zh-CN"/>
              <a:t> -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 bwMode="auto">
          <a:xfrm>
            <a:off x="264840" y="296863"/>
            <a:ext cx="9368110" cy="61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</p:sldLayoutIdLst>
  <p:hf sldNum="0" hdr="0" ftr="0" dt="0"/>
  <p:txStyles>
    <p:titleStyle>
      <a:lvl1pPr marL="0" indent="0" algn="l" defTabSz="957925" rtl="0" eaLnBrk="1" latinLnBrk="0" hangingPunct="1">
        <a:lnSpc>
          <a:spcPct val="90000"/>
        </a:lnSpc>
        <a:spcBef>
          <a:spcPct val="0"/>
        </a:spcBef>
        <a:buNone/>
        <a:defRPr sz="2500" b="0" kern="1200" baseline="0">
          <a:solidFill>
            <a:schemeClr val="tx1"/>
          </a:solidFill>
          <a:latin typeface="Palatino Linotype" panose="02040502050505030304" pitchFamily="18" charset="0"/>
          <a:ea typeface="+mj-ea"/>
          <a:cs typeface="Arial" pitchFamily="34" charset="0"/>
        </a:defRPr>
      </a:lvl1pPr>
    </p:titleStyle>
    <p:bodyStyle>
      <a:lvl1pPr marL="188568" indent="-188568" algn="l" defTabSz="957925" rtl="0" eaLnBrk="1" latinLnBrk="0" hangingPunct="1">
        <a:lnSpc>
          <a:spcPct val="90000"/>
        </a:lnSpc>
        <a:spcBef>
          <a:spcPts val="1467"/>
        </a:spcBef>
        <a:buClr>
          <a:schemeClr val="bg2"/>
        </a:buClr>
        <a:buSzPct val="100000"/>
        <a:buFont typeface="Arial" pitchFamily="34" charset="0"/>
        <a:buChar char="■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1pPr>
      <a:lvl2pPr marL="325695" indent="-134110" algn="l" defTabSz="957925" rtl="0" eaLnBrk="1" latinLnBrk="0" hangingPunct="1">
        <a:lnSpc>
          <a:spcPct val="90000"/>
        </a:lnSpc>
        <a:spcBef>
          <a:spcPts val="943"/>
        </a:spcBef>
        <a:buClr>
          <a:schemeClr val="bg2"/>
        </a:buClr>
        <a:buFont typeface="Arial" pitchFamily="34" charset="0"/>
        <a:buChar char="•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2pPr>
      <a:lvl3pPr marL="512905" indent="-188568" algn="l" defTabSz="957925" rtl="0" eaLnBrk="1" latinLnBrk="0" hangingPunct="1">
        <a:lnSpc>
          <a:spcPct val="90000"/>
        </a:lnSpc>
        <a:spcBef>
          <a:spcPts val="629"/>
        </a:spcBef>
        <a:buClr>
          <a:schemeClr val="bg2"/>
        </a:buClr>
        <a:buFont typeface="Arial" pitchFamily="34" charset="0"/>
        <a:buChar char="–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3pPr>
      <a:lvl4pPr marL="663759" indent="-143689" algn="l" defTabSz="957925" rtl="0" eaLnBrk="1" latinLnBrk="0" hangingPunct="1">
        <a:lnSpc>
          <a:spcPct val="90000"/>
        </a:lnSpc>
        <a:spcBef>
          <a:spcPts val="210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4pPr>
      <a:lvl5pPr marL="807071" indent="-143312" algn="l" defTabSz="957925" rtl="0" eaLnBrk="1" latinLnBrk="0" hangingPunct="1">
        <a:lnSpc>
          <a:spcPct val="90000"/>
        </a:lnSpc>
        <a:spcBef>
          <a:spcPts val="105"/>
        </a:spcBef>
        <a:buClr>
          <a:schemeClr val="bg2"/>
        </a:buClr>
        <a:buFont typeface="Arial" pitchFamily="34" charset="0"/>
        <a:buChar char="-"/>
        <a:defRPr sz="17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itchFamily="34" charset="0"/>
        </a:defRPr>
      </a:lvl5pPr>
      <a:lvl6pPr marL="2634295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258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2220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1183" indent="-239481" algn="l" defTabSz="95792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63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925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888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851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814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776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739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702" algn="l" defTabSz="95792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21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9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文本占位符 8"/>
          <p:cNvSpPr>
            <a:spLocks noGrp="1"/>
          </p:cNvSpPr>
          <p:nvPr>
            <p:ph type="body" sz="quarter" idx="16"/>
          </p:nvPr>
        </p:nvSpPr>
        <p:spPr>
          <a:xfrm>
            <a:off x="265158" y="6079950"/>
            <a:ext cx="6631264" cy="2308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 Group Members: Kai Ren, </a:t>
            </a:r>
            <a:r>
              <a:rPr lang="en-US" dirty="0" err="1"/>
              <a:t>WeiJie</a:t>
            </a:r>
            <a:r>
              <a:rPr lang="en-US" dirty="0"/>
              <a:t> Zhang, Yang Lan, </a:t>
            </a:r>
            <a:r>
              <a:rPr lang="en-US" dirty="0" err="1"/>
              <a:t>YiMing</a:t>
            </a:r>
            <a:r>
              <a:rPr lang="en-US" dirty="0"/>
              <a:t> Jiang, Rui Hu 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5157" y="3543149"/>
            <a:ext cx="9361046" cy="498713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Data Analysis Project 1.</a:t>
            </a:r>
            <a:endParaRPr lang="en-US" sz="4400" dirty="0">
              <a:latin typeface="Palatino Linotype" panose="02040502050505030304" pitchFamily="18" charset="0"/>
            </a:endParaRPr>
          </a:p>
        </p:txBody>
      </p:sp>
      <p:sp>
        <p:nvSpPr>
          <p:cNvPr id="10" name="标题 4">
            <a:extLst>
              <a:ext uri="{FF2B5EF4-FFF2-40B4-BE49-F238E27FC236}">
                <a16:creationId xmlns:a16="http://schemas.microsoft.com/office/drawing/2014/main" id="{4359DEE7-B8A1-E542-9DF8-D297C0303428}"/>
              </a:ext>
            </a:extLst>
          </p:cNvPr>
          <p:cNvSpPr txBox="1">
            <a:spLocks/>
          </p:cNvSpPr>
          <p:nvPr/>
        </p:nvSpPr>
        <p:spPr bwMode="auto">
          <a:xfrm>
            <a:off x="265157" y="2889734"/>
            <a:ext cx="9361046" cy="498713"/>
          </a:xfrm>
          <a:prstGeom prst="rect">
            <a:avLst/>
          </a:prstGeom>
          <a:noFill/>
          <a:ln w="6350" cap="flat">
            <a:noFill/>
            <a:miter lim="800000"/>
            <a:headEnd/>
            <a:tailEnd/>
          </a:ln>
        </p:spPr>
        <p:txBody>
          <a:bodyPr vert="horz" wrap="square" lIns="95793" tIns="47896" rIns="95793" bIns="47896" numCol="1" anchor="ctr" anchorCtr="0" compatLnSpc="1">
            <a:prstTxWarp prst="textNoShape">
              <a:avLst/>
            </a:prstTxWarp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KaiTi" panose="02010609060101010101" pitchFamily="49" charset="-122"/>
                <a:cs typeface="Times New Roman" panose="02020603050405020304" pitchFamily="18" charset="0"/>
              </a:rPr>
              <a:t>Predicting Stock Returns Using Machine Learning</a:t>
            </a:r>
            <a:endParaRPr lang="en-CN" sz="18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文本占位符 8">
            <a:extLst>
              <a:ext uri="{FF2B5EF4-FFF2-40B4-BE49-F238E27FC236}">
                <a16:creationId xmlns:a16="http://schemas.microsoft.com/office/drawing/2014/main" id="{06A902E9-7BB4-6A4F-A437-AC50CC36D2AE}"/>
              </a:ext>
            </a:extLst>
          </p:cNvPr>
          <p:cNvSpPr txBox="1">
            <a:spLocks/>
          </p:cNvSpPr>
          <p:nvPr/>
        </p:nvSpPr>
        <p:spPr>
          <a:xfrm>
            <a:off x="265157" y="5204850"/>
            <a:ext cx="6631264" cy="2308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 Oct 27, 2024</a:t>
            </a:r>
          </a:p>
        </p:txBody>
      </p:sp>
    </p:spTree>
    <p:extLst>
      <p:ext uri="{BB962C8B-B14F-4D97-AF65-F5344CB8AC3E}">
        <p14:creationId xmlns:p14="http://schemas.microsoft.com/office/powerpoint/2010/main" val="134124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Four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50849" y="1376361"/>
            <a:ext cx="2196001" cy="4932364"/>
            <a:chOff x="450849" y="1376361"/>
            <a:chExt cx="2196001" cy="4932364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719224" y="1376361"/>
            <a:ext cx="2196001" cy="4932364"/>
            <a:chOff x="450849" y="1376361"/>
            <a:chExt cx="2196001" cy="4932364"/>
          </a:xfrm>
        </p:grpSpPr>
        <p:sp>
          <p:nvSpPr>
            <p:cNvPr id="12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3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987599" y="1376361"/>
            <a:ext cx="2196001" cy="4932364"/>
            <a:chOff x="450849" y="1376361"/>
            <a:chExt cx="2196001" cy="4932364"/>
          </a:xfrm>
        </p:grpSpPr>
        <p:sp>
          <p:nvSpPr>
            <p:cNvPr id="15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6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7255974" y="1376361"/>
            <a:ext cx="2196001" cy="4932364"/>
            <a:chOff x="450849" y="1376361"/>
            <a:chExt cx="2196001" cy="4932364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50" y="1376361"/>
              <a:ext cx="2196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450849" y="1626041"/>
              <a:ext cx="2196000" cy="4682684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49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50848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95875" y="1376361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095874" y="1626041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0849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450848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5875" y="3968649"/>
            <a:ext cx="4356101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5095874" y="4218329"/>
            <a:ext cx="4356101" cy="209178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-by-two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450848" y="1376361"/>
            <a:ext cx="2880001" cy="2341465"/>
            <a:chOff x="450848" y="1376361"/>
            <a:chExt cx="2880001" cy="2341465"/>
          </a:xfrm>
        </p:grpSpPr>
        <p:sp>
          <p:nvSpPr>
            <p:cNvPr id="4" name="Text Box 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05196" y="1376361"/>
            <a:ext cx="2880001" cy="2341465"/>
            <a:chOff x="450848" y="1376361"/>
            <a:chExt cx="2880001" cy="2341465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559544" y="1376361"/>
            <a:ext cx="2880001" cy="2341465"/>
            <a:chOff x="450848" y="1376361"/>
            <a:chExt cx="2880001" cy="2341465"/>
          </a:xfrm>
        </p:grpSpPr>
        <p:sp>
          <p:nvSpPr>
            <p:cNvPr id="13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4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50848" y="3968848"/>
            <a:ext cx="2880001" cy="2341465"/>
            <a:chOff x="450848" y="1376361"/>
            <a:chExt cx="2880001" cy="2341465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505196" y="3968848"/>
            <a:ext cx="2880001" cy="2341465"/>
            <a:chOff x="450848" y="1376361"/>
            <a:chExt cx="2880001" cy="2341465"/>
          </a:xfrm>
        </p:grpSpPr>
        <p:sp>
          <p:nvSpPr>
            <p:cNvPr id="19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559544" y="3968848"/>
            <a:ext cx="2880001" cy="2341465"/>
            <a:chOff x="450848" y="1376361"/>
            <a:chExt cx="2880001" cy="2341465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0849" y="1376361"/>
              <a:ext cx="2880000" cy="249678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450848" y="1626041"/>
              <a:ext cx="2880000" cy="2091785"/>
            </a:xfrm>
            <a:prstGeom prst="rect">
              <a:avLst/>
            </a:prstGeom>
            <a:ln w="12700">
              <a:solidFill>
                <a:schemeClr val="bg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Paragraph (if not needed, delete)</a:t>
              </a:r>
            </a:p>
            <a:p>
              <a:pPr lvl="1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Bullet</a:t>
              </a:r>
            </a:p>
            <a:p>
              <a:pPr lvl="2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Dash</a:t>
              </a:r>
            </a:p>
            <a:p>
              <a:pPr lvl="3"/>
              <a:r>
                <a:rPr lang="en-US" dirty="0">
                  <a:solidFill>
                    <a:schemeClr val="tx1"/>
                  </a:solidFill>
                  <a:latin typeface="Palatino Linotype" panose="02040502050505030304" pitchFamily="18" charset="0"/>
                </a:rPr>
                <a:t>Sub bull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5" y="3236608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3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5" y="4274141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3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5" y="5311673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5" y="2199075"/>
            <a:ext cx="898560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3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3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5" y="1161542"/>
            <a:ext cx="8985830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columns of numbered points for each point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1706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1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1706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3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06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4</a:t>
            </a: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1706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5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1706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2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853853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853853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853853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853853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825501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5160740" y="144969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5160740" y="2487222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5160740" y="3524755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5160740" y="4562288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5132388" y="5599820"/>
            <a:ext cx="3614737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2291" y="1161542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6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2291" y="3236608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8</a:t>
            </a: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082291" y="4274141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9</a:t>
            </a:r>
          </a:p>
        </p:txBody>
      </p:sp>
      <p:sp>
        <p:nvSpPr>
          <p:cNvPr id="2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82291" y="5311673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10</a:t>
            </a:r>
          </a:p>
        </p:txBody>
      </p:sp>
      <p:sp>
        <p:nvSpPr>
          <p:cNvPr id="2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082291" y="2199075"/>
            <a:ext cx="4355244" cy="28814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spAutoFit/>
          </a:bodyPr>
          <a:lstStyle/>
          <a:p>
            <a:pPr defTabSz="1019175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ways of showing major points</a:t>
            </a: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6875" y="1376363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4175" y="2567332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4175" y="3758301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4175" y="4949270"/>
            <a:ext cx="1552575" cy="748776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100262" y="2561462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00262" y="3758301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00262" y="4949270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401341" y="1375569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2" name="Text Placeholder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01341" y="2561462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3" name="Text Placeholder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401341" y="3758301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401341" y="4949270"/>
            <a:ext cx="3114010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2100262" y="1375569"/>
            <a:ext cx="3114629" cy="860483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major points with chevron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396875" y="1376363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100263" y="1375569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2100263" y="2561462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2100263" y="3758301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2100263" y="4949270"/>
            <a:ext cx="2649537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5401340" y="1375569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  <a:endParaRPr lang="en-US" dirty="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5401340" y="2561462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5401340" y="3758301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5401340" y="4949270"/>
            <a:ext cx="3345785" cy="86048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en-US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gray">
          <a:xfrm>
            <a:off x="396875" y="2584531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gray">
          <a:xfrm>
            <a:off x="396875" y="3792699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gray">
          <a:xfrm>
            <a:off x="396875" y="5000867"/>
            <a:ext cx="1552575" cy="748800"/>
          </a:xfrm>
          <a:prstGeom prst="homePlate">
            <a:avLst>
              <a:gd name="adj" fmla="val 2406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chevrons with text boxes</a:t>
            </a:r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2113" y="1377950"/>
            <a:ext cx="2206625" cy="584200"/>
          </a:xfrm>
          <a:prstGeom prst="chevron">
            <a:avLst>
              <a:gd name="adj" fmla="val 34952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, Palatino Linotype14-pt bold</a:t>
            </a:r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6338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4213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40500" y="1377950"/>
            <a:ext cx="2206625" cy="584200"/>
          </a:xfrm>
          <a:prstGeom prst="chevron">
            <a:avLst>
              <a:gd name="adj" fmla="val 34975"/>
            </a:avLst>
          </a:prstGeom>
          <a:solidFill>
            <a:schemeClr val="bg2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21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2446338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494213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540500" y="2113984"/>
            <a:ext cx="1957388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oxes – vertical chevrons with text</a:t>
            </a:r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2330450" y="16097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 rot="5400000">
            <a:off x="2330450" y="24860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5400000">
            <a:off x="2330450" y="33623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 rot="5400000">
            <a:off x="2330450" y="4238625"/>
            <a:ext cx="1028700" cy="1816100"/>
          </a:xfrm>
          <a:prstGeom prst="chevron">
            <a:avLst>
              <a:gd name="adj" fmla="val 25000"/>
            </a:avLst>
          </a:prstGeom>
          <a:solidFill>
            <a:schemeClr val="bg2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970089" y="20034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70089" y="28797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3970089" y="3756024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3970089" y="4632325"/>
            <a:ext cx="4774398" cy="76007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ext b</a:t>
            </a:r>
            <a:r>
              <a:rPr lang="en-US" dirty="0"/>
              <a:t>locks – two squares</a:t>
            </a:r>
          </a:p>
        </p:txBody>
      </p:sp>
      <p:sp>
        <p:nvSpPr>
          <p:cNvPr id="3" name="Slide Number Placeholder 11"/>
          <p:cNvSpPr txBox="1">
            <a:spLocks/>
          </p:cNvSpPr>
          <p:nvPr/>
        </p:nvSpPr>
        <p:spPr>
          <a:xfrm>
            <a:off x="415925" y="6554788"/>
            <a:ext cx="346075" cy="1428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963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925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888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851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814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776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739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702" algn="l" defTabSz="95792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6B2407-E3DE-42EE-BB9A-9ADA55DC3674}" type="slidenum">
              <a:rPr lang="en-US" smtClean="0">
                <a:latin typeface="Palatino Linotype" panose="02040502050505030304" pitchFamily="18" charset="0"/>
              </a:rPr>
              <a:pPr/>
              <a:t>19</a:t>
            </a:fld>
            <a:endParaRPr lang="en-US">
              <a:latin typeface="Palatino Linotype" panose="02040502050505030304" pitchFamily="18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780301" y="2335769"/>
            <a:ext cx="3240000" cy="288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4651375" y="1705769"/>
            <a:ext cx="3600000" cy="41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rapezoid 12"/>
          <p:cNvSpPr/>
          <p:nvPr/>
        </p:nvSpPr>
        <p:spPr>
          <a:xfrm rot="16200000">
            <a:off x="2264911" y="3460769"/>
            <a:ext cx="4140000" cy="630000"/>
          </a:xfrm>
          <a:prstGeom prst="trapezoid">
            <a:avLst>
              <a:gd name="adj" fmla="val 98866"/>
            </a:avLst>
          </a:pr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5702" y="369454"/>
            <a:ext cx="7236804" cy="54006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dirty="0"/>
              <a:t>Data Analysis Framework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7FDCB4-145A-A34A-80F1-2157CA6F85C7}"/>
              </a:ext>
            </a:extLst>
          </p:cNvPr>
          <p:cNvSpPr/>
          <p:nvPr/>
        </p:nvSpPr>
        <p:spPr>
          <a:xfrm>
            <a:off x="1453940" y="4074601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00"/>
              </a:spcBef>
            </a:pPr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圆柱体 4">
            <a:extLst>
              <a:ext uri="{FF2B5EF4-FFF2-40B4-BE49-F238E27FC236}">
                <a16:creationId xmlns:a16="http://schemas.microsoft.com/office/drawing/2014/main" id="{F0EDBC39-B3DB-A549-A3CB-AF647B5989C8}"/>
              </a:ext>
            </a:extLst>
          </p:cNvPr>
          <p:cNvSpPr/>
          <p:nvPr/>
        </p:nvSpPr>
        <p:spPr>
          <a:xfrm>
            <a:off x="1435856" y="1979718"/>
            <a:ext cx="771782" cy="586883"/>
          </a:xfrm>
          <a:prstGeom prst="can">
            <a:avLst>
              <a:gd name="adj" fmla="val 13468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ily &amp; Min</a:t>
            </a:r>
            <a:r>
              <a:rPr lang="zh-CN" altLang="en-US" sz="900" i="1" u="sng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Trading</a:t>
            </a:r>
          </a:p>
          <a:p>
            <a:pPr algn="ctr" defTabSz="742859"/>
            <a:r>
              <a:rPr lang="en-US" altLang="zh-CN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0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E9897AD-8A69-1640-99B5-68E659E2C4E2}"/>
              </a:ext>
            </a:extLst>
          </p:cNvPr>
          <p:cNvSpPr/>
          <p:nvPr/>
        </p:nvSpPr>
        <p:spPr>
          <a:xfrm>
            <a:off x="1435856" y="1281984"/>
            <a:ext cx="2923130" cy="4320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mponent Stocks  of CSI500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圆柱体 4">
            <a:extLst>
              <a:ext uri="{FF2B5EF4-FFF2-40B4-BE49-F238E27FC236}">
                <a16:creationId xmlns:a16="http://schemas.microsoft.com/office/drawing/2014/main" id="{01905939-3687-0C4E-A7FA-ABAAC56E0A9E}"/>
              </a:ext>
            </a:extLst>
          </p:cNvPr>
          <p:cNvSpPr/>
          <p:nvPr/>
        </p:nvSpPr>
        <p:spPr>
          <a:xfrm>
            <a:off x="2321398" y="1968814"/>
            <a:ext cx="1170130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ndamental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圆柱体 4">
            <a:extLst>
              <a:ext uri="{FF2B5EF4-FFF2-40B4-BE49-F238E27FC236}">
                <a16:creationId xmlns:a16="http://schemas.microsoft.com/office/drawing/2014/main" id="{83E24139-E109-CE4B-A4DB-C2D2B709E6B5}"/>
              </a:ext>
            </a:extLst>
          </p:cNvPr>
          <p:cNvSpPr/>
          <p:nvPr/>
        </p:nvSpPr>
        <p:spPr>
          <a:xfrm>
            <a:off x="3602902" y="1968813"/>
            <a:ext cx="756084" cy="586883"/>
          </a:xfrm>
          <a:prstGeom prst="can">
            <a:avLst>
              <a:gd name="adj" fmla="val 1596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acro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Data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E84A89A-3990-564D-AE1E-F66BB6738DF2}"/>
              </a:ext>
            </a:extLst>
          </p:cNvPr>
          <p:cNvSpPr/>
          <p:nvPr/>
        </p:nvSpPr>
        <p:spPr>
          <a:xfrm>
            <a:off x="4709618" y="128198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ollecting Dataset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左大括号 6">
            <a:extLst>
              <a:ext uri="{FF2B5EF4-FFF2-40B4-BE49-F238E27FC236}">
                <a16:creationId xmlns:a16="http://schemas.microsoft.com/office/drawing/2014/main" id="{39CFCBE4-14C5-5048-ADB3-9E474621FDD1}"/>
              </a:ext>
            </a:extLst>
          </p:cNvPr>
          <p:cNvSpPr/>
          <p:nvPr/>
        </p:nvSpPr>
        <p:spPr>
          <a:xfrm rot="5400000">
            <a:off x="2770029" y="331400"/>
            <a:ext cx="254781" cy="3020052"/>
          </a:xfrm>
          <a:prstGeom prst="leftBrace">
            <a:avLst>
              <a:gd name="adj1" fmla="val 88490"/>
              <a:gd name="adj2" fmla="val 50000"/>
            </a:avLst>
          </a:prstGeom>
          <a:noFill/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42859"/>
            <a:endParaRPr lang="zh-CN" altLang="en-US" sz="1462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13" name="Chevron 12">
            <a:extLst>
              <a:ext uri="{FF2B5EF4-FFF2-40B4-BE49-F238E27FC236}">
                <a16:creationId xmlns:a16="http://schemas.microsoft.com/office/drawing/2014/main" id="{E98E6CB8-2627-914E-AAFF-D6777370DF4D}"/>
              </a:ext>
            </a:extLst>
          </p:cNvPr>
          <p:cNvSpPr/>
          <p:nvPr/>
        </p:nvSpPr>
        <p:spPr>
          <a:xfrm rot="5400000">
            <a:off x="2770029" y="2424053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14B55AE-C897-4845-8285-51515D98B7E9}"/>
              </a:ext>
            </a:extLst>
          </p:cNvPr>
          <p:cNvGrpSpPr/>
          <p:nvPr/>
        </p:nvGrpSpPr>
        <p:grpSpPr>
          <a:xfrm>
            <a:off x="1451554" y="3012929"/>
            <a:ext cx="2907432" cy="606613"/>
            <a:chOff x="1451554" y="3012929"/>
            <a:chExt cx="2907432" cy="606613"/>
          </a:xfrm>
        </p:grpSpPr>
        <p:sp>
          <p:nvSpPr>
            <p:cNvPr id="14" name="圆柱体 4">
              <a:extLst>
                <a:ext uri="{FF2B5EF4-FFF2-40B4-BE49-F238E27FC236}">
                  <a16:creationId xmlns:a16="http://schemas.microsoft.com/office/drawing/2014/main" id="{C0969A33-0213-3946-8D45-208AA9AFA0E3}"/>
                </a:ext>
              </a:extLst>
            </p:cNvPr>
            <p:cNvSpPr/>
            <p:nvPr/>
          </p:nvSpPr>
          <p:spPr>
            <a:xfrm>
              <a:off x="1451554" y="3032659"/>
              <a:ext cx="756084" cy="586883"/>
            </a:xfrm>
            <a:prstGeom prst="can">
              <a:avLst>
                <a:gd name="adj" fmla="val 13468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Daily Trading</a:t>
              </a:r>
            </a:p>
            <a:p>
              <a:pPr algn="ctr" defTabSz="742859"/>
              <a:r>
                <a:rPr lang="en-US" altLang="zh-CN" sz="10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0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圆柱体 4">
              <a:extLst>
                <a:ext uri="{FF2B5EF4-FFF2-40B4-BE49-F238E27FC236}">
                  <a16:creationId xmlns:a16="http://schemas.microsoft.com/office/drawing/2014/main" id="{BF8F64CC-5785-FF4D-8632-4A57569EC55F}"/>
                </a:ext>
              </a:extLst>
            </p:cNvPr>
            <p:cNvSpPr/>
            <p:nvPr/>
          </p:nvSpPr>
          <p:spPr>
            <a:xfrm>
              <a:off x="2321398" y="3012930"/>
              <a:ext cx="1170130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undamental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柱体 4">
              <a:extLst>
                <a:ext uri="{FF2B5EF4-FFF2-40B4-BE49-F238E27FC236}">
                  <a16:creationId xmlns:a16="http://schemas.microsoft.com/office/drawing/2014/main" id="{5312EDEE-3C6E-4C4E-BCEC-5F2B262E9525}"/>
                </a:ext>
              </a:extLst>
            </p:cNvPr>
            <p:cNvSpPr/>
            <p:nvPr/>
          </p:nvSpPr>
          <p:spPr>
            <a:xfrm>
              <a:off x="3602902" y="3012929"/>
              <a:ext cx="756084" cy="586883"/>
            </a:xfrm>
            <a:prstGeom prst="can">
              <a:avLst>
                <a:gd name="adj" fmla="val 15969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Macro </a:t>
              </a:r>
            </a:p>
            <a:p>
              <a:pPr algn="ctr" defTabSz="742859"/>
              <a:r>
                <a:rPr lang="en-US" altLang="zh-CN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等线" panose="02010600030101010101" pitchFamily="2" charset="-122"/>
                  <a:cs typeface="Times New Roman" panose="02020603050405020304" pitchFamily="18" charset="0"/>
                </a:rPr>
                <a:t>Factors</a:t>
              </a:r>
              <a:endPara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D6A8F12B-D529-FC42-9BA4-AABB0A2D01BD}"/>
              </a:ext>
            </a:extLst>
          </p:cNvPr>
          <p:cNvSpPr/>
          <p:nvPr/>
        </p:nvSpPr>
        <p:spPr>
          <a:xfrm>
            <a:off x="6775306" y="1276417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Factor Engineering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矩形: 圆角 113">
            <a:extLst>
              <a:ext uri="{FF2B5EF4-FFF2-40B4-BE49-F238E27FC236}">
                <a16:creationId xmlns:a16="http://schemas.microsoft.com/office/drawing/2014/main" id="{49588230-8B53-CB4D-8C5E-496595C95874}"/>
              </a:ext>
            </a:extLst>
          </p:cNvPr>
          <p:cNvSpPr/>
          <p:nvPr/>
        </p:nvSpPr>
        <p:spPr>
          <a:xfrm>
            <a:off x="1501561" y="441577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43BC51-3A19-414A-903C-F20F61E0BC20}"/>
              </a:ext>
            </a:extLst>
          </p:cNvPr>
          <p:cNvSpPr txBox="1"/>
          <p:nvPr/>
        </p:nvSpPr>
        <p:spPr>
          <a:xfrm>
            <a:off x="1453938" y="4059285"/>
            <a:ext cx="2527006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pPr>
              <a:spcBef>
                <a:spcPts val="900"/>
              </a:spcBef>
            </a:pPr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e Learning Models </a:t>
            </a:r>
            <a:r>
              <a:rPr lang="en-US" altLang="zh-CN" sz="14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🔥</a:t>
            </a:r>
            <a:endParaRPr lang="en-CN" sz="1400" dirty="0"/>
          </a:p>
        </p:txBody>
      </p:sp>
      <p:sp>
        <p:nvSpPr>
          <p:cNvPr id="28" name="矩形: 圆角 113">
            <a:extLst>
              <a:ext uri="{FF2B5EF4-FFF2-40B4-BE49-F238E27FC236}">
                <a16:creationId xmlns:a16="http://schemas.microsoft.com/office/drawing/2014/main" id="{BF32DD4F-2143-3849-A7E3-8B5294836B3C}"/>
              </a:ext>
            </a:extLst>
          </p:cNvPr>
          <p:cNvSpPr/>
          <p:nvPr/>
        </p:nvSpPr>
        <p:spPr>
          <a:xfrm>
            <a:off x="2331213" y="4415684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9" name="矩形: 圆角 113">
            <a:extLst>
              <a:ext uri="{FF2B5EF4-FFF2-40B4-BE49-F238E27FC236}">
                <a16:creationId xmlns:a16="http://schemas.microsoft.com/office/drawing/2014/main" id="{B48440E0-D782-314A-975A-E664828F7591}"/>
              </a:ext>
            </a:extLst>
          </p:cNvPr>
          <p:cNvSpPr/>
          <p:nvPr/>
        </p:nvSpPr>
        <p:spPr>
          <a:xfrm>
            <a:off x="3603781" y="4415683"/>
            <a:ext cx="708463" cy="30777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0" name="矩形: 圆角 113">
            <a:extLst>
              <a:ext uri="{FF2B5EF4-FFF2-40B4-BE49-F238E27FC236}">
                <a16:creationId xmlns:a16="http://schemas.microsoft.com/office/drawing/2014/main" id="{2ACFD9A8-789A-424F-A1A6-EAEF37246A48}"/>
              </a:ext>
            </a:extLst>
          </p:cNvPr>
          <p:cNvSpPr/>
          <p:nvPr/>
        </p:nvSpPr>
        <p:spPr>
          <a:xfrm>
            <a:off x="3039677" y="4418475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1" name="Chevron 30">
            <a:extLst>
              <a:ext uri="{FF2B5EF4-FFF2-40B4-BE49-F238E27FC236}">
                <a16:creationId xmlns:a16="http://schemas.microsoft.com/office/drawing/2014/main" id="{58D0856E-EF33-6940-A422-FF7356AFBDC7}"/>
              </a:ext>
            </a:extLst>
          </p:cNvPr>
          <p:cNvSpPr/>
          <p:nvPr/>
        </p:nvSpPr>
        <p:spPr>
          <a:xfrm rot="5400000">
            <a:off x="2779072" y="3505171"/>
            <a:ext cx="254782" cy="688034"/>
          </a:xfrm>
          <a:prstGeom prst="chevron">
            <a:avLst/>
          </a:prstGeom>
          <a:solidFill>
            <a:schemeClr val="tx1"/>
          </a:solidFill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4FD6610A-9542-8C46-8C49-BAA5AC9800DA}"/>
              </a:ext>
            </a:extLst>
          </p:cNvPr>
          <p:cNvCxnSpPr>
            <a:stCxn id="24" idx="3"/>
            <a:endCxn id="25" idx="3"/>
          </p:cNvCxnSpPr>
          <p:nvPr/>
        </p:nvCxnSpPr>
        <p:spPr>
          <a:xfrm rot="5400000">
            <a:off x="4178316" y="3780482"/>
            <a:ext cx="850756" cy="489416"/>
          </a:xfrm>
          <a:prstGeom prst="bentConnector2">
            <a:avLst/>
          </a:prstGeom>
          <a:ln w="19050" cap="flat">
            <a:solidFill>
              <a:schemeClr val="bg2"/>
            </a:solidFill>
            <a:prstDash val="dash"/>
            <a:miter lim="800000"/>
            <a:headEnd type="none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柱体 4">
            <a:extLst>
              <a:ext uri="{FF2B5EF4-FFF2-40B4-BE49-F238E27FC236}">
                <a16:creationId xmlns:a16="http://schemas.microsoft.com/office/drawing/2014/main" id="{799C96FB-072A-F744-A5A5-557844E2765F}"/>
              </a:ext>
            </a:extLst>
          </p:cNvPr>
          <p:cNvSpPr/>
          <p:nvPr/>
        </p:nvSpPr>
        <p:spPr>
          <a:xfrm>
            <a:off x="4470360" y="3012929"/>
            <a:ext cx="756084" cy="586883"/>
          </a:xfrm>
          <a:prstGeom prst="can">
            <a:avLst>
              <a:gd name="adj" fmla="val 15969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abels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6F50FC44-56E4-0C4D-AC68-E99F23585375}"/>
              </a:ext>
            </a:extLst>
          </p:cNvPr>
          <p:cNvSpPr/>
          <p:nvPr/>
        </p:nvSpPr>
        <p:spPr>
          <a:xfrm>
            <a:off x="4709618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bg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r>
              <a:rPr lang="en-US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rain</a:t>
            </a:r>
            <a:r>
              <a:rPr lang="en-US" altLang="zh-CN" sz="1600" b="1" i="0" u="none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g Model</a:t>
            </a:r>
            <a:endParaRPr lang="en-CN" sz="1800" b="1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1480889A-72E3-D94A-A5C7-B427AE17EC61}"/>
              </a:ext>
            </a:extLst>
          </p:cNvPr>
          <p:cNvSpPr/>
          <p:nvPr/>
        </p:nvSpPr>
        <p:spPr>
          <a:xfrm>
            <a:off x="1453940" y="5287819"/>
            <a:ext cx="2905046" cy="751934"/>
          </a:xfrm>
          <a:prstGeom prst="roundRect">
            <a:avLst>
              <a:gd name="adj" fmla="val 10252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900"/>
              </a:spcBef>
            </a:pPr>
            <a:endParaRPr lang="en-CN" sz="1400" dirty="0" err="1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矩形: 圆角 113">
            <a:extLst>
              <a:ext uri="{FF2B5EF4-FFF2-40B4-BE49-F238E27FC236}">
                <a16:creationId xmlns:a16="http://schemas.microsoft.com/office/drawing/2014/main" id="{22B8EDA8-A249-A745-98B6-748F5CBEAA26}"/>
              </a:ext>
            </a:extLst>
          </p:cNvPr>
          <p:cNvSpPr/>
          <p:nvPr/>
        </p:nvSpPr>
        <p:spPr>
          <a:xfrm>
            <a:off x="1501561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MLP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9" name="矩形: 圆角 113">
            <a:extLst>
              <a:ext uri="{FF2B5EF4-FFF2-40B4-BE49-F238E27FC236}">
                <a16:creationId xmlns:a16="http://schemas.microsoft.com/office/drawing/2014/main" id="{2A89051F-D278-504A-B8B1-BAE91AA4A4EC}"/>
              </a:ext>
            </a:extLst>
          </p:cNvPr>
          <p:cNvSpPr/>
          <p:nvPr/>
        </p:nvSpPr>
        <p:spPr>
          <a:xfrm>
            <a:off x="2331213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LSTM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0" name="矩形: 圆角 113">
            <a:extLst>
              <a:ext uri="{FF2B5EF4-FFF2-40B4-BE49-F238E27FC236}">
                <a16:creationId xmlns:a16="http://schemas.microsoft.com/office/drawing/2014/main" id="{74835E9B-18D8-554C-8280-734206E4C56F}"/>
              </a:ext>
            </a:extLst>
          </p:cNvPr>
          <p:cNvSpPr/>
          <p:nvPr/>
        </p:nvSpPr>
        <p:spPr>
          <a:xfrm>
            <a:off x="3598247" y="5629612"/>
            <a:ext cx="708463" cy="3077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2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Conv</a:t>
            </a:r>
            <a:endParaRPr lang="zh-CN" altLang="en-US" sz="12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1" name="矩形: 圆角 113">
            <a:extLst>
              <a:ext uri="{FF2B5EF4-FFF2-40B4-BE49-F238E27FC236}">
                <a16:creationId xmlns:a16="http://schemas.microsoft.com/office/drawing/2014/main" id="{8BDC828D-F8F5-834A-A44E-CDCD2AE37426}"/>
              </a:ext>
            </a:extLst>
          </p:cNvPr>
          <p:cNvSpPr/>
          <p:nvPr/>
        </p:nvSpPr>
        <p:spPr>
          <a:xfrm>
            <a:off x="3039677" y="5629270"/>
            <a:ext cx="560108" cy="307777"/>
          </a:xfrm>
          <a:prstGeom prst="round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600" b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···</a:t>
            </a:r>
            <a:endParaRPr lang="zh-CN" altLang="en-US" sz="1600" b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E530B4-B56E-154E-8704-2F41948C2052}"/>
              </a:ext>
            </a:extLst>
          </p:cNvPr>
          <p:cNvSpPr txBox="1"/>
          <p:nvPr/>
        </p:nvSpPr>
        <p:spPr>
          <a:xfrm>
            <a:off x="1461574" y="5276917"/>
            <a:ext cx="2905046" cy="30777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anchor="ctr">
            <a:spAutoFit/>
          </a:bodyPr>
          <a:lstStyle/>
          <a:p>
            <a:pPr>
              <a:spcBef>
                <a:spcPts val="900"/>
              </a:spcBef>
            </a:pPr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ined </a:t>
            </a:r>
            <a:r>
              <a:rPr lang="en-US" altLang="zh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ls </a:t>
            </a:r>
            <a:r>
              <a:rPr lang="en-CN" sz="1400" dirty="0"/>
              <a:t>❄️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F8B8114-1238-A54D-ABC1-B037541DACF7}"/>
              </a:ext>
            </a:extLst>
          </p:cNvPr>
          <p:cNvCxnSpPr>
            <a:stCxn id="25" idx="2"/>
            <a:endCxn id="42" idx="0"/>
          </p:cNvCxnSpPr>
          <p:nvPr/>
        </p:nvCxnSpPr>
        <p:spPr>
          <a:xfrm>
            <a:off x="2906463" y="4826535"/>
            <a:ext cx="7634" cy="450382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ight Arrow 46">
            <a:extLst>
              <a:ext uri="{FF2B5EF4-FFF2-40B4-BE49-F238E27FC236}">
                <a16:creationId xmlns:a16="http://schemas.microsoft.com/office/drawing/2014/main" id="{17B3BBCE-6575-674F-A224-DB12F52C83DB}"/>
              </a:ext>
            </a:extLst>
          </p:cNvPr>
          <p:cNvSpPr/>
          <p:nvPr/>
        </p:nvSpPr>
        <p:spPr>
          <a:xfrm>
            <a:off x="4515311" y="5453093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圆柱体 4">
            <a:extLst>
              <a:ext uri="{FF2B5EF4-FFF2-40B4-BE49-F238E27FC236}">
                <a16:creationId xmlns:a16="http://schemas.microsoft.com/office/drawing/2014/main" id="{F635F003-C674-A441-A9E2-5753D229EC30}"/>
              </a:ext>
            </a:extLst>
          </p:cNvPr>
          <p:cNvSpPr/>
          <p:nvPr/>
        </p:nvSpPr>
        <p:spPr>
          <a:xfrm>
            <a:off x="5130199" y="5287819"/>
            <a:ext cx="1241586" cy="751933"/>
          </a:xfrm>
          <a:prstGeom prst="can">
            <a:avLst>
              <a:gd name="adj" fmla="val 15969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Future Return </a:t>
            </a:r>
          </a:p>
          <a:p>
            <a:pPr algn="ctr" defTabSz="742859"/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Prediction</a:t>
            </a:r>
            <a:endParaRPr lang="zh-CN" altLang="en-US" sz="1400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91A1141-309B-2D42-966B-42BDB7FEE7C9}"/>
              </a:ext>
            </a:extLst>
          </p:cNvPr>
          <p:cNvSpPr/>
          <p:nvPr/>
        </p:nvSpPr>
        <p:spPr>
          <a:xfrm>
            <a:off x="1387394" y="2973396"/>
            <a:ext cx="3020053" cy="699779"/>
          </a:xfrm>
          <a:prstGeom prst="roundRect">
            <a:avLst/>
          </a:prstGeom>
          <a:noFill/>
          <a:ln w="19050" cap="flat">
            <a:solidFill>
              <a:schemeClr val="accent1">
                <a:lumMod val="60000"/>
                <a:lumOff val="40000"/>
              </a:schemeClr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2B50F2CE-9431-FB4B-A6DA-B433CE077C97}"/>
              </a:ext>
            </a:extLst>
          </p:cNvPr>
          <p:cNvSpPr/>
          <p:nvPr/>
        </p:nvSpPr>
        <p:spPr>
          <a:xfrm>
            <a:off x="6506018" y="5458392"/>
            <a:ext cx="456285" cy="35235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76D7744-550E-4B48-9BDA-4D3FF128B607}"/>
              </a:ext>
            </a:extLst>
          </p:cNvPr>
          <p:cNvSpPr/>
          <p:nvPr/>
        </p:nvSpPr>
        <p:spPr>
          <a:xfrm>
            <a:off x="7107052" y="5276916"/>
            <a:ext cx="1620180" cy="7628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 Actions</a:t>
            </a:r>
          </a:p>
          <a:p>
            <a:pPr algn="ctr"/>
            <a:r>
              <a:rPr lang="en-CN" sz="14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D9814FF3-C872-B64B-A732-1AD3C5363631}"/>
              </a:ext>
            </a:extLst>
          </p:cNvPr>
          <p:cNvSpPr/>
          <p:nvPr/>
        </p:nvSpPr>
        <p:spPr>
          <a:xfrm>
            <a:off x="6775305" y="1803354"/>
            <a:ext cx="1951927" cy="432048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9050" cap="flat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testing</a:t>
            </a:r>
          </a:p>
        </p:txBody>
      </p:sp>
      <p:sp>
        <p:nvSpPr>
          <p:cNvPr id="54" name="Notched Right Arrow 53">
            <a:extLst>
              <a:ext uri="{FF2B5EF4-FFF2-40B4-BE49-F238E27FC236}">
                <a16:creationId xmlns:a16="http://schemas.microsoft.com/office/drawing/2014/main" id="{DC493414-0838-6846-8FFA-F0B2D4F76FD1}"/>
              </a:ext>
            </a:extLst>
          </p:cNvPr>
          <p:cNvSpPr/>
          <p:nvPr/>
        </p:nvSpPr>
        <p:spPr>
          <a:xfrm>
            <a:off x="5475703" y="3071855"/>
            <a:ext cx="566164" cy="477893"/>
          </a:xfrm>
          <a:prstGeom prst="notchedRightArrow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AFDF741-9DFA-504B-B0C0-EB27C6903985}"/>
              </a:ext>
            </a:extLst>
          </p:cNvPr>
          <p:cNvSpPr/>
          <p:nvPr/>
        </p:nvSpPr>
        <p:spPr>
          <a:xfrm>
            <a:off x="6294283" y="3012929"/>
            <a:ext cx="2432949" cy="5868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B551308-D995-3B49-99EC-AC558601EA1E}"/>
              </a:ext>
            </a:extLst>
          </p:cNvPr>
          <p:cNvSpPr/>
          <p:nvPr/>
        </p:nvSpPr>
        <p:spPr>
          <a:xfrm>
            <a:off x="4709618" y="2341664"/>
            <a:ext cx="4017614" cy="431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ctors Importances Analysis</a:t>
            </a:r>
          </a:p>
        </p:txBody>
      </p:sp>
      <p:sp>
        <p:nvSpPr>
          <p:cNvPr id="64" name="文本占位符 8">
            <a:extLst>
              <a:ext uri="{FF2B5EF4-FFF2-40B4-BE49-F238E27FC236}">
                <a16:creationId xmlns:a16="http://schemas.microsoft.com/office/drawing/2014/main" id="{905C544C-A58A-5047-8C41-9C1C908F1199}"/>
              </a:ext>
            </a:extLst>
          </p:cNvPr>
          <p:cNvSpPr txBox="1">
            <a:spLocks/>
          </p:cNvSpPr>
          <p:nvPr/>
        </p:nvSpPr>
        <p:spPr>
          <a:xfrm>
            <a:off x="1435856" y="6274690"/>
            <a:ext cx="6631264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57925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1pPr>
            <a:lvl2pPr marL="191585" indent="0" algn="l" defTabSz="957925" rtl="0" eaLnBrk="1" latinLnBrk="0" hangingPunct="1">
              <a:lnSpc>
                <a:spcPct val="90000"/>
              </a:lnSpc>
              <a:spcBef>
                <a:spcPts val="943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2pPr>
            <a:lvl3pPr marL="338624" indent="0" algn="l" defTabSz="957925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3pPr>
            <a:lvl4pPr marL="535156" indent="0" algn="l" defTabSz="957925" rtl="0" eaLnBrk="1" latinLnBrk="0" hangingPunct="1">
              <a:lnSpc>
                <a:spcPct val="90000"/>
              </a:lnSpc>
              <a:spcBef>
                <a:spcPts val="210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4pPr>
            <a:lvl5pPr marL="686388" indent="0" algn="l" defTabSz="957925" rtl="0" eaLnBrk="1" latinLnBrk="0" hangingPunct="1">
              <a:lnSpc>
                <a:spcPct val="90000"/>
              </a:lnSpc>
              <a:spcBef>
                <a:spcPts val="105"/>
              </a:spcBef>
              <a:buClr>
                <a:schemeClr val="bg2"/>
              </a:buClr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Arial" pitchFamily="34" charset="0"/>
              </a:defRPr>
            </a:lvl5pPr>
            <a:lvl6pPr marL="2634295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13258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2220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1183" indent="-239481" algn="l" defTabSz="9579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400" b="1" dirty="0"/>
              <a:t>Fig 1. </a:t>
            </a:r>
            <a:r>
              <a:rPr lang="en-US" sz="1400" dirty="0"/>
              <a:t>The Framework of Data Analysis Project 1.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B06B39-8131-7145-9CB7-AB51BF08C24B}"/>
              </a:ext>
            </a:extLst>
          </p:cNvPr>
          <p:cNvSpPr/>
          <p:nvPr/>
        </p:nvSpPr>
        <p:spPr>
          <a:xfrm>
            <a:off x="6294283" y="4069055"/>
            <a:ext cx="2432949" cy="76283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ustance for </a:t>
            </a:r>
          </a:p>
          <a:p>
            <a:pPr algn="ctr"/>
            <a:r>
              <a:rPr lang="en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s Overfitting</a:t>
            </a:r>
          </a:p>
        </p:txBody>
      </p:sp>
      <p:sp>
        <p:nvSpPr>
          <p:cNvPr id="67" name="Notched Right Arrow 66">
            <a:extLst>
              <a:ext uri="{FF2B5EF4-FFF2-40B4-BE49-F238E27FC236}">
                <a16:creationId xmlns:a16="http://schemas.microsoft.com/office/drawing/2014/main" id="{5722FE74-E0AD-CC4F-AEA5-A90B774C261A}"/>
              </a:ext>
            </a:extLst>
          </p:cNvPr>
          <p:cNvSpPr/>
          <p:nvPr/>
        </p:nvSpPr>
        <p:spPr>
          <a:xfrm rot="10800000">
            <a:off x="5192621" y="4211525"/>
            <a:ext cx="566164" cy="477893"/>
          </a:xfrm>
          <a:prstGeom prst="notchedRightArrow">
            <a:avLst/>
          </a:prstGeom>
          <a:solidFill>
            <a:schemeClr val="accent5">
              <a:lumMod val="20000"/>
              <a:lumOff val="80000"/>
            </a:schemeClr>
          </a:solidFill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704072-C508-0944-9ADE-885671B70A8C}"/>
              </a:ext>
            </a:extLst>
          </p:cNvPr>
          <p:cNvSpPr txBox="1"/>
          <p:nvPr/>
        </p:nvSpPr>
        <p:spPr>
          <a:xfrm>
            <a:off x="3265272" y="3712807"/>
            <a:ext cx="1584316" cy="29238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>
            <a:spAutoFit/>
          </a:bodyPr>
          <a:lstStyle/>
          <a:p>
            <a:pPr algn="ctr" defTabSz="742859"/>
            <a:r>
              <a:rPr lang="en-US" altLang="zh-CN" sz="1300" b="1" i="1" dirty="0">
                <a:solidFill>
                  <a:prstClr val="black"/>
                </a:solidFill>
                <a:latin typeface="Times New Roman" panose="02020603050405020304" pitchFamily="18" charset="0"/>
                <a:ea typeface="等线" panose="02010600030101010101" pitchFamily="2" charset="-122"/>
                <a:cs typeface="Times New Roman" panose="02020603050405020304" pitchFamily="18" charset="0"/>
              </a:rPr>
              <a:t>Select &amp; Normalize</a:t>
            </a:r>
            <a:endParaRPr lang="zh-CN" altLang="en-US" sz="1300" b="1" i="1" dirty="0">
              <a:solidFill>
                <a:prstClr val="black"/>
              </a:solidFill>
              <a:latin typeface="Times New Roman" panose="02020603050405020304" pitchFamily="18" charset="0"/>
              <a:ea typeface="等线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76" name="Curved Right Arrow 75">
            <a:extLst>
              <a:ext uri="{FF2B5EF4-FFF2-40B4-BE49-F238E27FC236}">
                <a16:creationId xmlns:a16="http://schemas.microsoft.com/office/drawing/2014/main" id="{19CF3F1B-3530-784A-8C03-A4B825233731}"/>
              </a:ext>
            </a:extLst>
          </p:cNvPr>
          <p:cNvSpPr/>
          <p:nvPr/>
        </p:nvSpPr>
        <p:spPr>
          <a:xfrm>
            <a:off x="754649" y="3321781"/>
            <a:ext cx="576064" cy="230748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solidFill>
              <a:schemeClr val="accent1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C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51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locks – sources leading to</a:t>
            </a:r>
          </a:p>
        </p:txBody>
      </p:sp>
      <p:sp>
        <p:nvSpPr>
          <p:cNvPr id="3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12836" y="1830536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12836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771153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 flipH="1">
            <a:off x="5559461" y="1829668"/>
            <a:ext cx="3605213" cy="3911452"/>
          </a:xfrm>
          <a:prstGeom prst="homePlate">
            <a:avLst>
              <a:gd name="adj" fmla="val 8173"/>
            </a:avLst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wrap="square" lIns="180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7" name="Oval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6749" y="3011394"/>
            <a:ext cx="1546225" cy="1548000"/>
          </a:xfrm>
          <a:prstGeom prst="ellipse">
            <a:avLst/>
          </a:prstGeom>
          <a:solidFill>
            <a:schemeClr val="bg2"/>
          </a:solidFill>
          <a:ln w="6350" algn="ctr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  <a:ea typeface="ＭＳ Ｐゴシック" pitchFamily="50" charset="-128"/>
              </a:rPr>
              <a:t>Text</a:t>
            </a:r>
            <a:endParaRPr lang="en-US" sz="1400" b="1" dirty="0">
              <a:solidFill>
                <a:schemeClr val="bg1"/>
              </a:solidFill>
              <a:latin typeface="Palatino Linotype" panose="02040502050505030304" pitchFamily="18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c trees – executive summary tre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7291975" y="1824556"/>
            <a:ext cx="2160000" cy="4521562"/>
            <a:chOff x="6930838" y="1824556"/>
            <a:chExt cx="1981200" cy="4521562"/>
          </a:xfrm>
        </p:grpSpPr>
        <p:grpSp>
          <p:nvGrpSpPr>
            <p:cNvPr id="22" name="组合 21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13" name="Text Box 1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18" name="Rectangl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19" name="Group 2"/>
          <p:cNvGrpSpPr/>
          <p:nvPr/>
        </p:nvGrpSpPr>
        <p:grpSpPr>
          <a:xfrm>
            <a:off x="455612" y="1159753"/>
            <a:ext cx="8996363" cy="603248"/>
            <a:chOff x="387350" y="1123947"/>
            <a:chExt cx="8372475" cy="603248"/>
          </a:xfrm>
        </p:grpSpPr>
        <p:sp>
          <p:nvSpPr>
            <p:cNvPr id="20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7350" y="1292059"/>
              <a:ext cx="8372475" cy="435136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>
                <a:spcAft>
                  <a:spcPts val="300"/>
                </a:spcAft>
                <a:defRPr/>
              </a:pPr>
              <a:r>
                <a:rPr lang="en-US" sz="1200" dirty="0">
                  <a:latin typeface="Palatino Linotype" panose="02040502050505030304" pitchFamily="18" charset="0"/>
                </a:rPr>
                <a:t>Main conclusion</a:t>
              </a:r>
              <a:endParaRPr lang="en-US" sz="1200" kern="0" dirty="0">
                <a:latin typeface="Palatino Linotype" panose="02040502050505030304" pitchFamily="18" charset="0"/>
              </a:endParaRPr>
            </a:p>
          </p:txBody>
        </p:sp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87350" y="1123947"/>
              <a:ext cx="8372475" cy="216000"/>
            </a:xfrm>
            <a:prstGeom prst="rect">
              <a:avLst/>
            </a:prstGeom>
            <a:solidFill>
              <a:schemeClr val="bg2"/>
            </a:solidFill>
            <a:ln w="12700" algn="ctr">
              <a:solidFill>
                <a:schemeClr val="bg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defTabSz="957263"/>
              <a:r>
                <a:rPr lang="en-US" sz="1200" b="1">
                  <a:solidFill>
                    <a:schemeClr val="bg1"/>
                  </a:solidFill>
                  <a:latin typeface="Palatino Linotype" panose="02040502050505030304" pitchFamily="18" charset="0"/>
                </a:rPr>
                <a:t>Report title</a:t>
              </a:r>
              <a:endParaRPr lang="en-US" sz="1400" b="1">
                <a:solidFill>
                  <a:schemeClr val="bg1"/>
                </a:solidFill>
                <a:latin typeface="Palatino Linotype" panose="02040502050505030304" pitchFamily="18" charset="0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011600" y="1824556"/>
            <a:ext cx="2160000" cy="4521562"/>
            <a:chOff x="6930838" y="1824556"/>
            <a:chExt cx="1981200" cy="4521562"/>
          </a:xfrm>
        </p:grpSpPr>
        <p:grpSp>
          <p:nvGrpSpPr>
            <p:cNvPr id="25" name="组合 2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27" name="Text Box 10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28" name="Rectangle 1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26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2731225" y="1824556"/>
            <a:ext cx="2160000" cy="4521562"/>
            <a:chOff x="6930838" y="1824556"/>
            <a:chExt cx="1981200" cy="4521562"/>
          </a:xfrm>
        </p:grpSpPr>
        <p:grpSp>
          <p:nvGrpSpPr>
            <p:cNvPr id="30" name="组合 29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2" name="Text Box 10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450850" y="1824556"/>
            <a:ext cx="2160000" cy="4521562"/>
            <a:chOff x="6930838" y="1824556"/>
            <a:chExt cx="1981200" cy="4521562"/>
          </a:xfrm>
        </p:grpSpPr>
        <p:grpSp>
          <p:nvGrpSpPr>
            <p:cNvPr id="35" name="组合 34"/>
            <p:cNvGrpSpPr/>
            <p:nvPr/>
          </p:nvGrpSpPr>
          <p:grpSpPr>
            <a:xfrm>
              <a:off x="6932426" y="1824556"/>
              <a:ext cx="1979612" cy="496611"/>
              <a:chOff x="6932426" y="1824556"/>
              <a:chExt cx="1979612" cy="496611"/>
            </a:xfrm>
          </p:grpSpPr>
          <p:sp>
            <p:nvSpPr>
              <p:cNvPr id="3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932426" y="1824556"/>
                <a:ext cx="1979612" cy="180000"/>
              </a:xfrm>
              <a:prstGeom prst="rect">
                <a:avLst/>
              </a:prstGeom>
              <a:solidFill>
                <a:schemeClr val="bg2"/>
              </a:solidFill>
              <a:ln w="12700" algn="ctr">
                <a:solidFill>
                  <a:schemeClr val="bg2"/>
                </a:solidFill>
                <a:miter lim="800000"/>
                <a:headEnd/>
                <a:tailEnd type="none" w="sm" len="med"/>
              </a:ln>
            </p:spPr>
            <p:txBody>
              <a:bodyPr lIns="36000" tIns="36000" rIns="36000" bIns="36000" anchor="ctr" anchorCtr="1"/>
              <a:lstStyle/>
              <a:p>
                <a:pPr defTabSz="957263"/>
                <a:r>
                  <a:rPr lang="en-US" sz="1000" b="1">
                    <a:solidFill>
                      <a:schemeClr val="bg1"/>
                    </a:solidFill>
                    <a:latin typeface="Palatino Linotype" panose="02040502050505030304" pitchFamily="18" charset="0"/>
                  </a:rPr>
                  <a:t>Chapter title</a:t>
                </a: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932426" y="2005583"/>
                <a:ext cx="1979612" cy="315584"/>
              </a:xfrm>
              <a:prstGeom prst="rect">
                <a:avLst/>
              </a:prstGeom>
              <a:noFill/>
              <a:ln w="127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defTabSz="957998">
                  <a:spcAft>
                    <a:spcPts val="300"/>
                  </a:spcAft>
                  <a:defRPr/>
                </a:pPr>
                <a:r>
                  <a:rPr lang="en-US" sz="1000" kern="0" dirty="0">
                    <a:latin typeface="Palatino Linotype" panose="02040502050505030304" pitchFamily="18" charset="0"/>
                  </a:rPr>
                  <a:t>Supporting conclusion</a:t>
                </a:r>
              </a:p>
            </p:txBody>
          </p:sp>
        </p:grpSp>
        <p:sp>
          <p:nvSpPr>
            <p:cNvPr id="36" name="Rectangle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930838" y="2382721"/>
              <a:ext cx="1981200" cy="3963397"/>
            </a:xfrm>
            <a:prstGeom prst="rect">
              <a:avLst/>
            </a:prstGeom>
            <a:noFill/>
            <a:ln w="12700" algn="ctr">
              <a:solidFill>
                <a:schemeClr val="bg2"/>
              </a:solidFill>
              <a:miter lim="800000"/>
              <a:headEnd type="none" w="sm" len="sm"/>
              <a:tailEnd type="none" w="sm" len="sm"/>
            </a:ln>
          </p:spPr>
          <p:txBody>
            <a:bodyPr lIns="36000" tIns="36000" rIns="36000" bIns="36000"/>
            <a:lstStyle/>
            <a:p>
              <a:pPr marL="180000" lvl="1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00" dirty="0">
                  <a:latin typeface="Palatino Linotype" panose="02040502050505030304" pitchFamily="18" charset="0"/>
                </a:rPr>
                <a:t>Slide text</a:t>
              </a:r>
            </a:p>
            <a:p>
              <a:pPr marL="360000" lvl="2" indent="-180000" defTabSz="957263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</a:pPr>
              <a:r>
                <a:rPr lang="en-US" sz="1000" dirty="0">
                  <a:latin typeface="Palatino Linotype" panose="02040502050505030304" pitchFamily="18" charset="0"/>
                </a:rPr>
                <a:t>Da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9"/>
          <p:cNvSpPr/>
          <p:nvPr>
            <p:custDataLst>
              <p:tags r:id="rId1"/>
            </p:custDataLst>
          </p:nvPr>
        </p:nvSpPr>
        <p:spPr>
          <a:xfrm>
            <a:off x="970129" y="3179911"/>
            <a:ext cx="8444703" cy="3382231"/>
          </a:xfrm>
          <a:prstGeom prst="roundRect">
            <a:avLst>
              <a:gd name="adj" fmla="val 322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alatino Linotype" panose="02040502050505030304" pitchFamily="18" charset="0"/>
            </a:endParaRPr>
          </a:p>
        </p:txBody>
      </p:sp>
      <p:graphicFrame>
        <p:nvGraphicFramePr>
          <p:cNvPr id="9" name="Table 4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78497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2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15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wo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7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964216" y="2950411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8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5193145" y="2800889"/>
            <a:ext cx="4176091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537315" y="185743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5691790" y="1677413"/>
            <a:ext cx="3178799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37173934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– three</a:t>
            </a:r>
          </a:p>
        </p:txBody>
      </p:sp>
      <p:graphicFrame>
        <p:nvGraphicFramePr>
          <p:cNvPr id="11" name="Table 4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958196"/>
              </p:ext>
            </p:extLst>
          </p:nvPr>
        </p:nvGraphicFramePr>
        <p:xfrm>
          <a:off x="240028" y="2901334"/>
          <a:ext cx="9172010" cy="32912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71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6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658">
                <a:tc gridSpan="3"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华文楷体" pitchFamily="2" charset="-122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742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47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>
                          <a:latin typeface="Palatino Linotype" panose="02040502050505030304" pitchFamily="18" charset="0"/>
                          <a:ea typeface="华文楷体" pitchFamily="2" charset="-122"/>
                        </a:rPr>
                        <a:t>xxx</a:t>
                      </a:r>
                      <a:endParaRPr lang="en-US" sz="1200" b="1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Arial" pitchFamily="34" charset="0"/>
                        <a:buChar char="•"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indent="-171450">
                        <a:lnSpc>
                          <a:spcPct val="114000"/>
                        </a:lnSpc>
                        <a:spcBef>
                          <a:spcPts val="400"/>
                        </a:spcBef>
                        <a:buFont typeface="华文楷体" pitchFamily="2" charset="-122"/>
                        <a:buChar char="-"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zh-CN" sz="1200" b="1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Content</a:t>
                      </a: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r>
                        <a:rPr lang="en-US" altLang="zh-CN" sz="1200" dirty="0">
                          <a:latin typeface="Palatino Linotype" panose="02040502050505030304" pitchFamily="18" charset="0"/>
                          <a:ea typeface="华文楷体" pitchFamily="2" charset="-122"/>
                        </a:rPr>
                        <a:t>Dash</a:t>
                      </a:r>
                      <a:endParaRPr lang="en-US" altLang="zh-CN" sz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  <a:p>
                      <a:pPr marL="360363" marR="0" indent="-171450" algn="l" defTabSz="859512" rtl="0" eaLnBrk="1" fontAlgn="auto" latinLnBrk="0" hangingPunct="1">
                        <a:lnSpc>
                          <a:spcPct val="114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华文楷体" pitchFamily="2" charset="-122"/>
                        <a:buChar char="-"/>
                        <a:tabLst/>
                        <a:defRPr/>
                      </a:pPr>
                      <a:endParaRPr lang="en-US" altLang="zh-CN" sz="1200" dirty="0">
                        <a:latin typeface="Palatino Linotype" panose="02040502050505030304" pitchFamily="18" charset="0"/>
                        <a:ea typeface="华文楷体" pitchFamily="2" charset="-122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274289" y="1168497"/>
            <a:ext cx="9142413" cy="327989"/>
          </a:xfrm>
          <a:prstGeom prst="rect">
            <a:avLst/>
          </a:prstGeom>
          <a:solidFill>
            <a:schemeClr val="bg2"/>
          </a:solidFill>
        </p:spPr>
        <p:txBody>
          <a:bodyPr wrap="square" lIns="36000" rIns="36000" rtlCol="0" anchor="ctr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r>
              <a:rPr lang="en-US" altLang="zh-CN" dirty="0">
                <a:latin typeface="Palatino Linotype" panose="02040502050505030304" pitchFamily="18" charset="0"/>
              </a:rPr>
              <a:t>Growth Path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13" name="AutoShape 3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21580317">
            <a:off x="3980596" y="2746029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>
                <a:lumMod val="60000"/>
                <a:lumOff val="40000"/>
              </a:schemeClr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4" name="AutoShape 3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21580317">
            <a:off x="6891541" y="2536907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bg2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6" name="Text Placeholder 5"/>
          <p:cNvSpPr txBox="1">
            <a:spLocks/>
          </p:cNvSpPr>
          <p:nvPr/>
        </p:nvSpPr>
        <p:spPr>
          <a:xfrm>
            <a:off x="6562141" y="1523124"/>
            <a:ext cx="2854561" cy="1620000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3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7" name="AutoShape 3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21580317">
            <a:off x="1064271" y="2955152"/>
            <a:ext cx="2520000" cy="180759"/>
          </a:xfrm>
          <a:custGeom>
            <a:avLst/>
            <a:gdLst>
              <a:gd name="T0" fmla="*/ 0 w 21517"/>
              <a:gd name="T1" fmla="*/ 0 h 12283"/>
              <a:gd name="T2" fmla="*/ 21517 w 21517"/>
              <a:gd name="T3" fmla="*/ 12283 h 12283"/>
            </a:gdLst>
            <a:ahLst/>
            <a:cxnLst/>
            <a:rect l="T0" t="T1" r="T2" b="T3"/>
            <a:pathLst>
              <a:path w="21517" h="12283">
                <a:moveTo>
                  <a:pt x="-122" y="12283"/>
                </a:moveTo>
                <a:cubicBezTo>
                  <a:pt x="-122" y="12283"/>
                  <a:pt x="7415" y="-9317"/>
                  <a:pt x="21478" y="1248"/>
                </a:cubicBezTo>
              </a:path>
            </a:pathLst>
          </a:custGeom>
          <a:noFill/>
          <a:ln w="50800" cap="rnd">
            <a:solidFill>
              <a:schemeClr val="accent5"/>
            </a:solidFill>
            <a:round/>
            <a:headEnd type="none" w="sm" len="sm"/>
            <a:tailEnd type="stealth" w="sm" len="med"/>
          </a:ln>
        </p:spPr>
        <p:txBody>
          <a:bodyPr wrap="none" anchor="ctr"/>
          <a:lstStyle/>
          <a:p>
            <a:pPr algn="ctr"/>
            <a:endParaRPr lang="en-US" sz="1400">
              <a:latin typeface="Palatino Linotype" panose="02040502050505030304" pitchFamily="18" charset="0"/>
              <a:sym typeface="Gill Sans"/>
            </a:endParaRP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704511" y="1677560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2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896990" y="1929588"/>
            <a:ext cx="2854561" cy="1104162"/>
          </a:xfrm>
          <a:prstGeom prst="rect">
            <a:avLst/>
          </a:prstGeom>
          <a:ln w="12700">
            <a:noFill/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Step 1 (if not needed, delete)</a:t>
            </a:r>
          </a:p>
          <a:p>
            <a:pPr lvl="1"/>
            <a:r>
              <a:rPr lang="en-US" sz="1200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910158"/>
              </p:ext>
            </p:extLst>
          </p:nvPr>
        </p:nvGraphicFramePr>
        <p:xfrm>
          <a:off x="396875" y="1377950"/>
          <a:ext cx="9055104" cy="430274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480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80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0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6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718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alternative data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644224"/>
              </p:ext>
            </p:extLst>
          </p:nvPr>
        </p:nvGraphicFramePr>
        <p:xfrm>
          <a:off x="396875" y="1377950"/>
          <a:ext cx="9055098" cy="4152900"/>
        </p:xfrm>
        <a:graphic>
          <a:graphicData uri="http://schemas.openxmlformats.org/drawingml/2006/table">
            <a:tbl>
              <a:tblPr/>
              <a:tblGrid>
                <a:gridCol w="1218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66462" marR="66462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1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2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3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4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Sub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60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Total</a:t>
                      </a:r>
                    </a:p>
                  </a:txBody>
                  <a:tcPr marL="66462" marR="66462" marT="36000" marB="3600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xx</a:t>
                      </a:r>
                    </a:p>
                  </a:txBody>
                  <a:tcPr marL="66462" marR="66462" marT="36000" marB="36000" anchor="ctr" anchorCtr="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0598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text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278109"/>
              </p:ext>
            </p:extLst>
          </p:nvPr>
        </p:nvGraphicFramePr>
        <p:xfrm>
          <a:off x="396876" y="1377949"/>
          <a:ext cx="9055099" cy="493236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793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86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37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2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9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alatino Linotype" panose="02040502050505030304" pitchFamily="18" charset="0"/>
                        </a:rPr>
                        <a:t>Row description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 (if not needed, delete)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table with full column of bullets and dashes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7220300"/>
              </p:ext>
            </p:extLst>
          </p:nvPr>
        </p:nvGraphicFramePr>
        <p:xfrm>
          <a:off x="396875" y="1377950"/>
          <a:ext cx="9055100" cy="4470400"/>
        </p:xfrm>
        <a:graphic>
          <a:graphicData uri="http://schemas.openxmlformats.org/drawingml/2006/table">
            <a:tbl>
              <a:tblPr/>
              <a:tblGrid>
                <a:gridCol w="2265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53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2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551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xt line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 – chevron table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673773"/>
              </p:ext>
            </p:extLst>
          </p:nvPr>
        </p:nvGraphicFramePr>
        <p:xfrm>
          <a:off x="396873" y="2023231"/>
          <a:ext cx="9055104" cy="4287081"/>
        </p:xfrm>
        <a:graphic>
          <a:graphicData uri="http://schemas.openxmlformats.org/drawingml/2006/table">
            <a:tbl>
              <a:tblPr/>
              <a:tblGrid>
                <a:gridCol w="2263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63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cap="flat"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ubhead</a:t>
                      </a:r>
                    </a:p>
                  </a:txBody>
                  <a:tcPr marL="36000" marR="3600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8510"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Palatino Linotype" panose="02040502050505030304" pitchFamily="18" charset="0"/>
                        <a:ea typeface="+mj-ea"/>
                        <a:cs typeface="+mj-cs"/>
                      </a:endParaRP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Heading</a:t>
                      </a:r>
                    </a:p>
                    <a:p>
                      <a:pPr marL="180000" marR="0" lvl="1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Bullet</a:t>
                      </a:r>
                    </a:p>
                    <a:p>
                      <a:pPr marL="360000" marR="0" lvl="2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‒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Dash</a:t>
                      </a:r>
                    </a:p>
                    <a:p>
                      <a:pPr marL="540000" marR="0" lvl="3" indent="-18000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Palatino Linotype" panose="02040502050505030304" pitchFamily="18" charset="0"/>
                          <a:ea typeface="+mj-ea"/>
                          <a:cs typeface="+mj-cs"/>
                        </a:rPr>
                        <a:t>Sub bullet</a:t>
                      </a:r>
                    </a:p>
                  </a:txBody>
                  <a:tcPr marL="36000" marR="36000" marT="36000" marB="36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382587" y="1377950"/>
            <a:ext cx="9069388" cy="584200"/>
            <a:chOff x="382587" y="1377950"/>
            <a:chExt cx="8353600" cy="584200"/>
          </a:xfrm>
        </p:grpSpPr>
        <p:sp>
          <p:nvSpPr>
            <p:cNvPr id="4" name="AutoShape 32"/>
            <p:cNvSpPr>
              <a:spLocks noChangeArrowheads="1"/>
            </p:cNvSpPr>
            <p:nvPr/>
          </p:nvSpPr>
          <p:spPr bwMode="gray">
            <a:xfrm>
              <a:off x="382587" y="1377950"/>
              <a:ext cx="2206800" cy="584200"/>
            </a:xfrm>
            <a:prstGeom prst="chevron">
              <a:avLst>
                <a:gd name="adj" fmla="val 34952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, Palatino Linotype, 14-pt bold</a:t>
              </a:r>
            </a:p>
          </p:txBody>
        </p:sp>
        <p:sp>
          <p:nvSpPr>
            <p:cNvPr id="5" name="AutoShape 33"/>
            <p:cNvSpPr>
              <a:spLocks noChangeArrowheads="1"/>
            </p:cNvSpPr>
            <p:nvPr/>
          </p:nvSpPr>
          <p:spPr bwMode="gray">
            <a:xfrm>
              <a:off x="2431520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6" name="AutoShape 34"/>
            <p:cNvSpPr>
              <a:spLocks noChangeArrowheads="1"/>
            </p:cNvSpPr>
            <p:nvPr/>
          </p:nvSpPr>
          <p:spPr bwMode="gray">
            <a:xfrm>
              <a:off x="4480453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  <p:sp>
          <p:nvSpPr>
            <p:cNvPr id="7" name="AutoShape 35"/>
            <p:cNvSpPr>
              <a:spLocks noChangeArrowheads="1"/>
            </p:cNvSpPr>
            <p:nvPr/>
          </p:nvSpPr>
          <p:spPr bwMode="gray">
            <a:xfrm>
              <a:off x="6529387" y="1377950"/>
              <a:ext cx="2206800" cy="584200"/>
            </a:xfrm>
            <a:prstGeom prst="chevron">
              <a:avLst>
                <a:gd name="adj" fmla="val 34975"/>
              </a:avLst>
            </a:prstGeom>
            <a:solidFill>
              <a:schemeClr val="bg2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>
                <a:lnSpc>
                  <a:spcPct val="106000"/>
                </a:lnSpc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ext</a:t>
              </a:r>
            </a:p>
          </p:txBody>
        </p:sp>
      </p:grpSp>
      <p:sp>
        <p:nvSpPr>
          <p:cNvPr id="8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wo text boxes with paragraph, bullet, and dash points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8561" y="1376361"/>
            <a:ext cx="4358389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48560" y="1626041"/>
            <a:ext cx="4358389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5877" y="1376361"/>
            <a:ext cx="43561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5095876" y="1626041"/>
            <a:ext cx="43561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boxes – three to a slide, with paragraph, bullet, and dash points</a:t>
            </a:r>
          </a:p>
        </p:txBody>
      </p:sp>
      <p:sp>
        <p:nvSpPr>
          <p:cNvPr id="3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37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>
              <a:spcAft>
                <a:spcPts val="0"/>
              </a:spcAft>
            </a:pPr>
            <a:r>
              <a:rPr lang="en-US" sz="1400" b="1" dirty="0"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5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50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 dirty="0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50849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11778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511777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72706" y="1376361"/>
            <a:ext cx="2880000" cy="249678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US" sz="1400" b="1">
                <a:solidFill>
                  <a:schemeClr val="bg1"/>
                </a:solidFill>
                <a:latin typeface="Palatino Linotype" panose="02040502050505030304" pitchFamily="18" charset="0"/>
              </a:rPr>
              <a:t>Text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6572705" y="1626041"/>
            <a:ext cx="2880000" cy="468268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Paragraph (if not needed, delete)</a:t>
            </a:r>
          </a:p>
          <a:p>
            <a:pPr lvl="1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Bullet</a:t>
            </a:r>
          </a:p>
          <a:p>
            <a:pPr lvl="2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Dash</a:t>
            </a:r>
          </a:p>
          <a:p>
            <a:pPr lvl="3"/>
            <a:r>
              <a:rPr lang="en-US" dirty="0">
                <a:solidFill>
                  <a:schemeClr val="tx1"/>
                </a:solidFill>
                <a:latin typeface="Palatino Linotype" panose="02040502050505030304" pitchFamily="18" charset="0"/>
              </a:rPr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287429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77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1.68322986240641190000E+000&quot;&gt;&lt;m_ppcolschidx val=&quot;0&quot;/&gt;&lt;m_rgb r=&quot;9b&quot; g=&quot;17&quot; b=&quot;17&quot;/&gt;&lt;/elem&gt;&lt;elem m_fUsage=&quot;1.50338772469263370000E+000&quot;&gt;&lt;m_ppcolschidx val=&quot;0&quot;/&gt;&lt;m_rgb r=&quot;e5&quot; g=&quot;52&quot; b=&quot;52&quot;/&gt;&lt;/elem&gt;&lt;elem m_fUsage=&quot;1.22240875340971660000E+000&quot;&gt;&lt;m_ppcolschidx val=&quot;0&quot;/&gt;&lt;m_rgb r=&quot;c0&quot; g=&quot;0&quot; b=&quot;0&quot;/&gt;&lt;/elem&gt;&lt;elem m_fUsage=&quot;1.01916297527188230000E+000&quot;&gt;&lt;m_ppcolschidx val=&quot;0&quot;/&gt;&lt;m_rgb r=&quot;ee&quot; g=&quot;8b&quot; b=&quot;8b&quot;/&gt;&lt;/elem&gt;&lt;elem m_fUsage=&quot;9.90952901816634310000E-001&quot;&gt;&lt;m_ppcolschidx val=&quot;0&quot;/&gt;&lt;m_rgb r=&quot;f6&quot; g=&quot;c5&quot; b=&quot;c5&quot;/&gt;&lt;/elem&gt;&lt;elem m_fUsage=&quot;7.96036907042989350000E-001&quot;&gt;&lt;m_ppcolschidx val=&quot;0&quot;/&gt;&lt;m_rgb r=&quot;8c&quot; g=&quot;0&quot; b=&quot;0&quot;/&gt;&lt;/elem&gt;&lt;elem m_fUsage=&quot;7.74929666165770640000E-001&quot;&gt;&lt;m_ppcolschidx val=&quot;0&quot;/&gt;&lt;m_rgb r=&quot;74&quot; g=&quot;11&quot; b=&quot;11&quot;/&gt;&lt;/elem&gt;&lt;elem m_fUsage=&quot;6.20506540339557430000E-001&quot;&gt;&lt;m_ppcolschidx val=&quot;0&quot;/&gt;&lt;m_rgb r=&quot;b7&quot; g=&quot;84&quot; b=&quot;84&quot;/&gt;&lt;/elem&gt;&lt;elem m_fUsage=&quot;5.37470833195205280000E-001&quot;&gt;&lt;m_ppcolschidx val=&quot;0&quot;/&gt;&lt;m_rgb r=&quot;c5&quot; g=&quot;a0&quot; b=&quot;a0&quot;/&gt;&lt;/elem&gt;&lt;elem m_fUsage=&quot;4.22298087940373430000E-001&quot;&gt;&lt;m_ppcolschidx val=&quot;0&quot;/&gt;&lt;m_rgb r=&quot;d6&quot; g=&quot;bf&quot; b=&quot;bf&quot;/&gt;&lt;/elem&gt;&lt;elem m_fUsage=&quot;2.57980839435674180000E-001&quot;&gt;&lt;m_ppcolschidx val=&quot;0&quot;/&gt;&lt;m_rgb r=&quot;73&quot; g=&quot;0&quot; b=&quot;0&quot;/&gt;&lt;/elem&gt;&lt;elem m_fUsage=&quot;1.65995699549193580000E-001&quot;&gt;&lt;m_ppcolschidx val=&quot;0&quot;/&gt;&lt;m_rgb r=&quot;4e&quot; g=&quot;c&quot; b=&quot;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zEFF13M0WKgd4O5C57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1J68.yESxiEG7ncze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SCh86WykiCFP1GDNSD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x2GpKW3kqowVwcaDoS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8154f5HUqsDBiVpNNq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6uIFuJq06ngQU1ey9K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e_StvbU.2ilUxqenA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cPrvkp_UCfZYpSZBzB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Z3SNMPPUSNJA6Vwr0Y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f7TywYECbF3xX2Dj5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USL.Teekq.TV4MG7by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Nq6wuekGDUwGSKZAF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5RZ1ne.UCkFBJ_aCWG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5Ggp5jUyoj6gjF7SQ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oevLBHLkGZYGPTuSR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oEi9l3kWlW_S6SCF.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YT0hR6.0SvUx6BnT90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J97binx0i5J8UPOr93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TakVrDUWbKSwDbZGp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EztrqPu0.ccF8qdOw.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Q4iBO9pEmQU7xMrr1l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NFgm0yKEuM.gZWhN5E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.aFC3p0ils54GIHuZ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oLseO1dUSWP8cEAzlL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jsJ7jS4E.l9wBVV1gy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8Vu3XPz0i8bzQ1s82K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HuYGpAUi7Bwg0Z1vV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Av3p.T0CEpQBfk.pF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_6dwvEyE.1sfTYE6fu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C9sveo0UepfshQLoEq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i8uSidEqo_2mcSfVtB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o6mWN1LkKmY._cdCgv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VeA8NcXE6Q4qgTpZkN1w"/>
</p:tagLst>
</file>

<file path=ppt/theme/theme1.xml><?xml version="1.0" encoding="utf-8"?>
<a:theme xmlns:a="http://schemas.openxmlformats.org/drawingml/2006/main" name="CR Onlytext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18</Words>
  <Application>Microsoft Macintosh PowerPoint</Application>
  <PresentationFormat>Custom</PresentationFormat>
  <Paragraphs>703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等线</vt:lpstr>
      <vt:lpstr>华文楷体</vt:lpstr>
      <vt:lpstr>Arial</vt:lpstr>
      <vt:lpstr>Calibri</vt:lpstr>
      <vt:lpstr>Palatino Linotype</vt:lpstr>
      <vt:lpstr>Times New Roman</vt:lpstr>
      <vt:lpstr>Vrinda</vt:lpstr>
      <vt:lpstr>Wingdings 2</vt:lpstr>
      <vt:lpstr>CR Onlytext</vt:lpstr>
      <vt:lpstr>think-cell Slide</vt:lpstr>
      <vt:lpstr>Data Analysis Project 1.</vt:lpstr>
      <vt:lpstr>Data Analysis Framework</vt:lpstr>
      <vt:lpstr>Tables – data table</vt:lpstr>
      <vt:lpstr>Tables – alternative data table</vt:lpstr>
      <vt:lpstr>Tables – table with text</vt:lpstr>
      <vt:lpstr>Tables – table with full column of bullets and dashes</vt:lpstr>
      <vt:lpstr>Tables – chevron table</vt:lpstr>
      <vt:lpstr>Text boxes – two text boxes with paragraph, bullet, and dash points</vt:lpstr>
      <vt:lpstr>Text boxes – three to a slide, with paragraph, bullet, and dash points</vt:lpstr>
      <vt:lpstr>Text boxes – Four to a slide, with paragraph, bullet, and dash points</vt:lpstr>
      <vt:lpstr>Text boxes – two-by-two</vt:lpstr>
      <vt:lpstr>Text boxes – three-by-two</vt:lpstr>
      <vt:lpstr>Text boxes – two columns of numbered points for each point</vt:lpstr>
      <vt:lpstr>Text boxes – two columns of numbered points for each point</vt:lpstr>
      <vt:lpstr>Text boxes – two ways of showing major points</vt:lpstr>
      <vt:lpstr>Text boxes – major points with chevrons</vt:lpstr>
      <vt:lpstr>Text boxes – chevrons with text boxes</vt:lpstr>
      <vt:lpstr>Text boxes – vertical chevrons with text</vt:lpstr>
      <vt:lpstr>Text blocks – two squares</vt:lpstr>
      <vt:lpstr>Text blocks – sources leading to</vt:lpstr>
      <vt:lpstr>Logic trees – executive summary tree</vt:lpstr>
      <vt:lpstr>Steps – two</vt:lpstr>
      <vt:lpstr>Steps – th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6T02:17:58Z</dcterms:created>
  <dcterms:modified xsi:type="dcterms:W3CDTF">2024-10-31T00:28:19Z</dcterms:modified>
  <cp:version>112013</cp:version>
</cp:coreProperties>
</file>